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5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7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9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3" r:id="rId1"/>
    <p:sldMasterId id="2147483686" r:id="rId2"/>
    <p:sldMasterId id="2147483712" r:id="rId3"/>
    <p:sldMasterId id="2147483740" r:id="rId4"/>
    <p:sldMasterId id="2147483773" r:id="rId5"/>
    <p:sldMasterId id="2147483806" r:id="rId6"/>
    <p:sldMasterId id="2147483841" r:id="rId7"/>
    <p:sldMasterId id="2147483874" r:id="rId8"/>
    <p:sldMasterId id="2147483893" r:id="rId9"/>
    <p:sldMasterId id="2147483912" r:id="rId10"/>
  </p:sldMasterIdLst>
  <p:notesMasterIdLst>
    <p:notesMasterId r:id="rId12"/>
  </p:notesMasterIdLst>
  <p:sldIdLst>
    <p:sldId id="308" r:id="rId11"/>
  </p:sldIdLst>
  <p:sldSz cx="12188825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728">
          <p15:clr>
            <a:srgbClr val="A4A3A4"/>
          </p15:clr>
        </p15:guide>
        <p15:guide id="2" pos="3839">
          <p15:clr>
            <a:srgbClr val="A4A3A4"/>
          </p15:clr>
        </p15:guide>
        <p15:guide id="3" pos="95">
          <p15:clr>
            <a:srgbClr val="A4A3A4"/>
          </p15:clr>
        </p15:guide>
        <p15:guide id="4" pos="7343">
          <p15:clr>
            <a:srgbClr val="A4A3A4"/>
          </p15:clr>
        </p15:guide>
        <p15:guide id="5" orient="horz" pos="1104">
          <p15:clr>
            <a:srgbClr val="A4A3A4"/>
          </p15:clr>
        </p15:guide>
        <p15:guide id="6" orient="horz" pos="3984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7" roundtripDataSignature="AMtx7mgkvQKd+ywVYj6TFeHSoH1In+D17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bhishek Memani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67FF"/>
    <a:srgbClr val="0032A0"/>
    <a:srgbClr val="0039CE"/>
    <a:srgbClr val="84BBFF"/>
    <a:srgbClr val="305496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4343" autoAdjust="0"/>
  </p:normalViewPr>
  <p:slideViewPr>
    <p:cSldViewPr snapToGrid="0">
      <p:cViewPr varScale="1">
        <p:scale>
          <a:sx n="63" d="100"/>
          <a:sy n="63" d="100"/>
        </p:scale>
        <p:origin x="780" y="56"/>
      </p:cViewPr>
      <p:guideLst>
        <p:guide orient="horz" pos="1728"/>
        <p:guide pos="3839"/>
        <p:guide pos="95"/>
        <p:guide pos="7343"/>
        <p:guide orient="horz" pos="1104"/>
        <p:guide orient="horz" pos="39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67" Type="http://customschemas.google.com/relationships/presentationmetadata" Target="metadata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6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713101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0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926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066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395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216AA-C246-4BF8-9778-027A671AE0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4049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951C51-9575-4E82-9944-2A080A1D141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186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6876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4290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92C196-58BA-4F0F-83A6-F3DD888CADD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353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5517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7719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82178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62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059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77500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2522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753626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1738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9829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842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4366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9926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93776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59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5829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5313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3564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860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5673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904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8639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05883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45012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2835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463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3520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3880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66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373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62888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3688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680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5316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345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6632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217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4140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884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88727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7556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042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2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3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0527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3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678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16" indent="-304716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3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28372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48" indent="-37784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33" lvl="1" indent="-609433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9" y="1682495"/>
            <a:ext cx="3675693" cy="4425696"/>
          </a:xfrm>
          <a:noFill/>
        </p:spPr>
        <p:txBody>
          <a:bodyPr/>
          <a:lstStyle>
            <a:lvl1pPr marL="0" marR="0" indent="0" algn="l" defTabSz="609433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33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5311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48" indent="-37784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07184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231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996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30131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3061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976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93F35-2FAA-43E7-B4AD-DAFD3780020E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7610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42D52C-3CA5-4C1F-B4EA-6C668C28FEA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1058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8560DFC-A6CF-4FC3-8474-FACA8C8040F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418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FC2F8F9-635E-44ED-B3A1-8140F0E9DA5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30042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1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D08B945-A802-43B9-B6DA-6200C366EE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82183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ACF89-C07E-4F39-9ACF-C55F859B1B1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467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38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ECC9D-0C67-48D4-9A1C-98C5944F0D6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94982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7943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8034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86518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16" indent="-304716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33" indent="-304716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49" indent="-304716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49" indent="-304716">
              <a:buClrTx/>
              <a:buFont typeface="Courier New" panose="02070309020205020404" pitchFamily="49" charset="0"/>
              <a:buChar char="o"/>
              <a:defRPr sz="1866"/>
            </a:lvl7pPr>
            <a:lvl8pPr marL="914149" indent="-304716">
              <a:buClrTx/>
              <a:buFont typeface="Courier New" panose="02070309020205020404" pitchFamily="49" charset="0"/>
              <a:buChar char="o"/>
              <a:defRPr sz="1866"/>
            </a:lvl8pPr>
            <a:lvl9pPr marL="914149" indent="-304716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8046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49" indent="-308949">
              <a:buNone/>
              <a:defRPr sz="5865">
                <a:solidFill>
                  <a:schemeClr val="tx1"/>
                </a:solidFill>
              </a:defRPr>
            </a:lvl2pPr>
            <a:lvl3pPr marL="304716" indent="-304716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4318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49" indent="-308949">
              <a:buNone/>
              <a:defRPr sz="5865">
                <a:solidFill>
                  <a:schemeClr val="tx1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3235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49" indent="-308949">
              <a:buNone/>
              <a:defRPr sz="5865">
                <a:solidFill>
                  <a:schemeClr val="bg1"/>
                </a:solidFill>
              </a:defRPr>
            </a:lvl2pPr>
            <a:lvl3pPr marL="304716" indent="-304716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703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2859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3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187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9194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239C7-19E4-4769-A6C4-887621BCCE1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001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0270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414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3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5443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3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6033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997071" cy="6096000"/>
          </a:xfrm>
        </p:spPr>
        <p:txBody>
          <a:bodyPr anchor="ctr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1296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9" y="-1296362"/>
            <a:ext cx="184731" cy="461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40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6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247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88825" cy="7102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4"/>
          </a:p>
        </p:txBody>
      </p:sp>
      <p:sp>
        <p:nvSpPr>
          <p:cNvPr id="4" name="Parallelogram 3"/>
          <p:cNvSpPr/>
          <p:nvPr userDrawn="1"/>
        </p:nvSpPr>
        <p:spPr>
          <a:xfrm>
            <a:off x="4652436" y="0"/>
            <a:ext cx="6293023" cy="710293"/>
          </a:xfrm>
          <a:prstGeom prst="parallelogram">
            <a:avLst>
              <a:gd name="adj" fmla="val 70977"/>
            </a:avLst>
          </a:prstGeom>
          <a:solidFill>
            <a:srgbClr val="E12F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4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599" y="120832"/>
            <a:ext cx="11924914" cy="4584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59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20" y="6373368"/>
            <a:ext cx="1703774" cy="365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9510914" y="155477"/>
            <a:ext cx="2544596" cy="3757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6827184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1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08529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638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658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B8BDB-D6E8-4ABA-A6E3-740EBC2FB34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335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30" indent="-37783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02" lvl="1" indent="-609402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4" cy="4425696"/>
          </a:xfrm>
          <a:noFill/>
        </p:spPr>
        <p:txBody>
          <a:bodyPr/>
          <a:lstStyle>
            <a:lvl1pPr marL="0" marR="0" indent="0" algn="l" defTabSz="609402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02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8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06875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30" indent="-37783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8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1063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5683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62457773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29976051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1788723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8564827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837762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66313187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2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30" y="2987040"/>
            <a:ext cx="5484971" cy="3121152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75623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32A3-306E-480E-A183-4093F0BA7DE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6859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1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3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98661998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62947354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76905674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24571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4253247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92494610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01" indent="-304701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02" indent="-304701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03" indent="-304701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03" indent="-304701">
              <a:buClrTx/>
              <a:buFont typeface="Courier New" panose="02070309020205020404" pitchFamily="49" charset="0"/>
              <a:buChar char="o"/>
              <a:defRPr sz="1866"/>
            </a:lvl7pPr>
            <a:lvl8pPr marL="914103" indent="-304701">
              <a:buClrTx/>
              <a:buFont typeface="Courier New" panose="02070309020205020404" pitchFamily="49" charset="0"/>
              <a:buChar char="o"/>
              <a:defRPr sz="1866"/>
            </a:lvl8pPr>
            <a:lvl9pPr marL="914103" indent="-304701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39356812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31448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33" indent="-308933">
              <a:buNone/>
              <a:defRPr sz="5865">
                <a:solidFill>
                  <a:schemeClr val="tx1"/>
                </a:solidFill>
              </a:defRPr>
            </a:lvl2pPr>
            <a:lvl3pPr marL="304701" indent="-304701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8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2231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33" indent="-308933">
              <a:buNone/>
              <a:defRPr sz="5865">
                <a:solidFill>
                  <a:schemeClr val="tx1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62265585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33" indent="-308933">
              <a:buNone/>
              <a:defRPr sz="5865">
                <a:solidFill>
                  <a:schemeClr val="bg1"/>
                </a:solidFill>
              </a:defRPr>
            </a:lvl2pPr>
            <a:lvl3pPr marL="304701" indent="-304701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165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524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58C28-6D82-4CDA-99BC-649955BB24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6247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17053772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2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0775681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11254947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341312057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20318854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2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1012345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3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9769979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1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3" cy="365760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/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188851373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0228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594875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3815871"/>
            <a:ext cx="6703854" cy="1005404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732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9D6A9C-5685-DB4A-940D-0A166FC53689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2" y="3626571"/>
            <a:ext cx="90589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7223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C94624-3DA0-49E6-B632-003C396656D1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7231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193800"/>
            <a:ext cx="11177153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8989968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56481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B0FE3D-9675-5C43-9A68-E0E027F9C1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3688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5689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BDEE31-86AB-1348-AEB5-ECBCE4353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312698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A83589-701D-0642-8F29-579DE771E61C}"/>
              </a:ext>
            </a:extLst>
          </p:cNvPr>
          <p:cNvCxnSpPr>
            <a:cxnSpLocks/>
          </p:cNvCxnSpPr>
          <p:nvPr userDrawn="1"/>
        </p:nvCxnSpPr>
        <p:spPr bwMode="white">
          <a:xfrm flipH="1">
            <a:off x="507869" y="2156913"/>
            <a:ext cx="1027950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8096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03816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&amp; Number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DB8076-7A15-294B-9F29-3AD917EBD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809224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spcBef>
                <a:spcPts val="0"/>
              </a:spcBef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lang="en-US" sz="1866" baseline="0" noProof="0" dirty="0">
                <a:solidFill>
                  <a:schemeClr val="tx2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6EE624-9DEC-AB48-B64E-E6E983872DC4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471788"/>
            <a:ext cx="848758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C99D996-401C-B345-91D7-5E3D59498BBA}"/>
              </a:ext>
            </a:extLst>
          </p:cNvPr>
          <p:cNvSpPr/>
          <p:nvPr userDrawn="1"/>
        </p:nvSpPr>
        <p:spPr>
          <a:xfrm>
            <a:off x="503805" y="432689"/>
            <a:ext cx="2693366" cy="9128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5332" b="1" dirty="0">
                <a:solidFill>
                  <a:schemeClr val="tx2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874515-8BC9-E742-8E82-6CA0A2655E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9B55D8F4-7C00-A945-B181-3419E2C8C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C8A2C78D-0E99-3D46-85C8-7F3DBA884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081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1F70E9D6-43EC-0241-BC44-FD47F28691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01D600B3-A7F4-0941-870B-67C380967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163D4327-3D35-AD4E-808A-738B44FCD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263324-F4C4-E749-86B9-D270983C126B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95CFD4-96B5-8C42-A808-6C280E38F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45249E6-CF45-F94B-9622-B5CA9AEEE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25715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</p:spTree>
    <p:extLst>
      <p:ext uri="{BB962C8B-B14F-4D97-AF65-F5344CB8AC3E}">
        <p14:creationId xmlns:p14="http://schemas.microsoft.com/office/powerpoint/2010/main" val="31270503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176590-7EB0-0641-9AEF-A5D2C4CD0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5373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AAE8289-DD47-D144-81DF-156E3AE27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F5C070-7E03-2942-B54C-3B82309EAB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  <a:effectLst>
            <a:outerShdw blurRad="12700" dist="38100" dir="5400000" sx="90000" sy="90000" algn="t" rotWithShape="0">
              <a:prstClr val="black">
                <a:alpha val="4000"/>
              </a:prst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6FE5A3-D65C-3043-AC3E-4E7F904CC3C8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959468"/>
            <a:ext cx="8487584" cy="0"/>
          </a:xfrm>
          <a:prstGeom prst="line">
            <a:avLst/>
          </a:prstGeom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35CDD119-9902-E141-8533-B71559B586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187702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Goes Here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FFA550FE-0F59-184C-8F71-2160F6198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AD57ECE9-5D31-3447-A27C-E28410CFA3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94A92B65-9073-714C-8832-DB92757BE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215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585842-DBA6-46BB-B99E-ED1F2ADC75F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0072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 &amp; 1-Column">
    <p:bg>
      <p:bgPr>
        <a:solidFill>
          <a:schemeClr val="tx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E18E0336-BC1E-A142-A764-8EB3BEF13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9382167" cy="207264"/>
          </a:xfrm>
        </p:spPr>
        <p:txBody>
          <a:bodyPr/>
          <a:lstStyle>
            <a:lvl1pPr algn="l">
              <a:defRPr sz="10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795AB87B-A889-274F-9DA6-12B24B791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5289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>
            <a:normAutofit/>
          </a:bodyPr>
          <a:lstStyle>
            <a:lvl1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7B1799-5671-4E4A-9EA3-C2ABDFB123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753" y="825290"/>
            <a:ext cx="11177322" cy="357515"/>
          </a:xfrm>
        </p:spPr>
        <p:txBody>
          <a:bodyPr>
            <a:normAutofit/>
          </a:bodyPr>
          <a:lstStyle>
            <a:lvl1pPr>
              <a:defRPr sz="2133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71915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1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BF4A7D5-A9A4-D742-B109-C7B2BBE3A34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9405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57971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A4B907-1218-4E4A-82F1-642F8017D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50ABCD-AE6B-3944-94D4-650FD3CEFB66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BDFF969-16B1-4043-AB0B-642C2E9380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46473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43B87D-A0F4-A145-BCBE-88325C169FEF}"/>
              </a:ext>
            </a:extLst>
          </p:cNvPr>
          <p:cNvSpPr/>
          <p:nvPr userDrawn="1"/>
        </p:nvSpPr>
        <p:spPr>
          <a:xfrm>
            <a:off x="0" y="5410200"/>
            <a:ext cx="12188825" cy="144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6" dirty="0"/>
          </a:p>
        </p:txBody>
      </p:sp>
    </p:spTree>
    <p:extLst>
      <p:ext uri="{BB962C8B-B14F-4D97-AF65-F5344CB8AC3E}">
        <p14:creationId xmlns:p14="http://schemas.microsoft.com/office/powerpoint/2010/main" val="9385904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1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6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06435" y="234866"/>
            <a:ext cx="11175956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5227" y="51835"/>
            <a:ext cx="12312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51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5968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835" y="6254495"/>
            <a:ext cx="11176475" cy="0"/>
          </a:xfrm>
          <a:custGeom>
            <a:avLst/>
            <a:gdLst/>
            <a:ahLst/>
            <a:cxnLst/>
            <a:rect l="l" t="t" r="r" b="b"/>
            <a:pathLst>
              <a:path w="8384540">
                <a:moveTo>
                  <a:pt x="0" y="0"/>
                </a:moveTo>
                <a:lnTo>
                  <a:pt x="8384158" y="0"/>
                </a:lnTo>
              </a:path>
            </a:pathLst>
          </a:custGeom>
          <a:ln w="9144">
            <a:solidFill>
              <a:srgbClr val="00B040"/>
            </a:solidFill>
          </a:ln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17" name="bk object 17"/>
          <p:cNvSpPr/>
          <p:nvPr/>
        </p:nvSpPr>
        <p:spPr>
          <a:xfrm>
            <a:off x="9978585" y="6374381"/>
            <a:ext cx="1704404" cy="3657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66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441" y="1577340"/>
            <a:ext cx="5302139" cy="369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20534" y="2381165"/>
            <a:ext cx="528013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6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 © 2019 Cognizant - Confidential or Trade Secret</a:t>
            </a:r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pPr marL="33858">
              <a:spcBef>
                <a:spcPts val="33"/>
              </a:spcBef>
              <a:tabLst>
                <a:tab pos="380058" algn="l"/>
              </a:tabLst>
            </a:pPr>
            <a:fld id="{81D60167-4931-47E6-BA6A-407CBD079E47}" type="slidenum">
              <a:rPr lang="en-US" sz="1066" smtClean="0">
                <a:solidFill>
                  <a:srgbClr val="808080"/>
                </a:solidFill>
              </a:rPr>
              <a:pPr marL="33858">
                <a:spcBef>
                  <a:spcPts val="33"/>
                </a:spcBef>
                <a:tabLst>
                  <a:tab pos="380058" algn="l"/>
                </a:tabLst>
              </a:pPr>
              <a:t>‹#›</a:t>
            </a:fld>
            <a:r>
              <a:rPr lang="en-US" sz="1066">
                <a:solidFill>
                  <a:srgbClr val="808080"/>
                </a:solidFill>
              </a:rPr>
              <a:t>	</a:t>
            </a:r>
            <a:r>
              <a:rPr lang="en-US"/>
              <a:t>© 2019</a:t>
            </a:r>
            <a:r>
              <a:rPr lang="en-US" spc="-87"/>
              <a:t> </a:t>
            </a:r>
            <a:r>
              <a:rPr lang="en-US" spc="-7"/>
              <a:t>Cognizant</a:t>
            </a:r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281813669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1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02821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16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7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4"/>
            <a:ext cx="6703854" cy="718145"/>
          </a:xfrm>
        </p:spPr>
        <p:txBody>
          <a:bodyPr>
            <a:spAutoFit/>
          </a:bodyPr>
          <a:lstStyle>
            <a:lvl1pPr marL="0" marR="0" indent="0" algn="l" defTabSz="121880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01" indent="-304701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rgbClr val="000210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/>
        </p:nvCxnSpPr>
        <p:spPr bwMode="white">
          <a:xfrm>
            <a:off x="609441" y="3904765"/>
            <a:ext cx="304720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3" y="512064"/>
            <a:ext cx="3180379" cy="68275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1823" y="6276783"/>
            <a:ext cx="2563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0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</p:spTree>
    <p:extLst>
      <p:ext uri="{BB962C8B-B14F-4D97-AF65-F5344CB8AC3E}">
        <p14:creationId xmlns:p14="http://schemas.microsoft.com/office/powerpoint/2010/main" val="42060855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5982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50" y="173747"/>
            <a:ext cx="11815126" cy="1060704"/>
          </a:xfrm>
        </p:spPr>
        <p:txBody>
          <a:bodyPr>
            <a:normAutofit/>
          </a:bodyPr>
          <a:lstStyle>
            <a:lvl1pPr>
              <a:defRPr sz="2399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E669688A-77C5-4DC4-B327-717F94343A6B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solidFill>
                  <a:schemeClr val="accent6"/>
                </a:solidFill>
                <a:latin typeface="+mj-lt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725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25CC0-001A-43F5-9B57-46CE61769B5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34084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>
              <a:solidFill>
                <a:srgbClr val="141414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8811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9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223622"/>
            <a:ext cx="10360501" cy="653690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accent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782958" y="-1296363"/>
            <a:ext cx="184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399" dirty="0" err="1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9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5" y="512064"/>
            <a:ext cx="3180379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2404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F9DBA-C480-E546-BAD9-804CFE071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448" y="601884"/>
            <a:ext cx="10512862" cy="1099595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D7C56E-6AFD-C746-8C3B-A1DE62717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6619" y="6356351"/>
            <a:ext cx="4113728" cy="365125"/>
          </a:xfrm>
        </p:spPr>
        <p:txBody>
          <a:bodyPr/>
          <a:lstStyle>
            <a:lvl1pPr algn="l"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BDBA9C-3D93-5D4A-B3D5-DF8E1F9B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716341" y="6356351"/>
            <a:ext cx="2742486" cy="365125"/>
          </a:xfrm>
        </p:spPr>
        <p:txBody>
          <a:bodyPr/>
          <a:lstStyle/>
          <a:p>
            <a:fld id="{393A516D-0578-BA43-A930-A25C5F9D0BF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612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34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11215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23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Speaker’s Full Name</a:t>
            </a:r>
          </a:p>
          <a:p>
            <a:pPr lvl="1"/>
            <a:r>
              <a:rPr lang="en-US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51022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Drag picture to placeholder or click icon to add</a:t>
            </a:r>
          </a:p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9E508C-8E0B-469F-A2D9-AC62101F5C05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58099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  <a:p>
            <a:pPr lvl="1"/>
            <a:endParaRPr lang="en-US"/>
          </a:p>
          <a:p>
            <a:pPr lvl="0"/>
            <a:r>
              <a:rPr lang="en-US"/>
              <a:t>Numbered text</a:t>
            </a:r>
          </a:p>
          <a:p>
            <a:pPr lvl="1"/>
            <a:r>
              <a:rPr lang="en-US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A04BE0-EF35-4D6F-B801-4137CADB0D75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6078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95158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5919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7F55-C26B-48FC-B38F-777DAE6B04F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2380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97231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94687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064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81186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71703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606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3646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9192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4812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2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511F17-38C4-44DF-ADBB-003A309F28E0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22730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1904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7840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74055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86777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079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216AA-C246-4BF8-9778-027A671AE05C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702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351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bg1"/>
                </a:solidFill>
              </a:defRPr>
            </a:lvl1pPr>
            <a:lvl2pPr marL="308956" indent="-308956">
              <a:buNone/>
              <a:defRPr sz="5865">
                <a:solidFill>
                  <a:schemeClr val="bg1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951C51-9575-4E82-9944-2A080A1D1416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43518" y="6400800"/>
            <a:ext cx="6094413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1442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743519" y="1463040"/>
            <a:ext cx="8958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1566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5419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E9C752-D058-463B-9E84-F0D0FB1AA2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1AAD6-6BF9-44BD-8B5E-441D9E17EC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7104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92C196-58BA-4F0F-83A6-F3DD888CADD0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10113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56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723C8-B7B3-4950-BDEC-A8C820F2E9F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55AAD7-B6DD-49B9-A161-72534B93215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67F4B0-9013-4E9E-9C02-E80308C894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F68D0-3D52-4AAE-BAD5-E685A44EC4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C0B7B8-5D2E-4DC2-8ED6-129DC4E412E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555C70-7666-4B1C-BD96-58FC37C94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090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7245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1020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62959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Cogniza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6954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  <a:br>
              <a:rPr lang="en-US"/>
            </a:br>
            <a:r>
              <a:rPr lang="en-US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6391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5982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50" y="173747"/>
            <a:ext cx="11815126" cy="1060704"/>
          </a:xfrm>
        </p:spPr>
        <p:txBody>
          <a:bodyPr>
            <a:normAutofit/>
          </a:bodyPr>
          <a:lstStyle>
            <a:lvl1pPr>
              <a:defRPr sz="2399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E669688A-77C5-4DC4-B327-717F94343A6B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solidFill>
                  <a:schemeClr val="accent6"/>
                </a:solidFill>
                <a:latin typeface="+mj-lt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526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58F86F5-BAB6-4CB3-90D0-9627181D6F2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82348C-75B0-4FAD-B938-374E4C3CF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C4C5-03BD-4CB4-9145-5AD4CD061F5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802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DFC9BF-4470-40CF-8D9B-EBFBF35E414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5353D-C3F0-4610-AC96-51E1C3E24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981F65-3889-43EC-925C-AE198E6C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4436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5C69B1-3034-40AE-A411-87CCD4038996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87D2D-86BD-4F81-ABB2-617104A445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DFD90-6BB1-437F-9F87-F0EE11D6B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007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429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530F72-C993-4612-9AFC-11C1D7DDF4A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9760E2-6197-4679-A293-2A1317EFAB4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677D8-5DFC-45CA-854E-7E2FDF7D479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1960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63315BF-63BF-4C4E-8260-3EBBE9ADF5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7AAB2-79C4-4D8A-B367-D69C5CB977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EC04C-1500-45F6-8042-1CE988757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216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654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594875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3815871"/>
            <a:ext cx="6703854" cy="1005404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732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9D6A9C-5685-DB4A-940D-0A166FC53689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2" y="3626571"/>
            <a:ext cx="90589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000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193800"/>
            <a:ext cx="11177153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8989968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04551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B0FE3D-9675-5C43-9A68-E0E027F9C1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75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9EC9720-0962-014C-ACB4-2469F1EAF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778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BDEE31-86AB-1348-AEB5-ECBCE4353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312698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A83589-701D-0642-8F29-579DE771E61C}"/>
              </a:ext>
            </a:extLst>
          </p:cNvPr>
          <p:cNvCxnSpPr>
            <a:cxnSpLocks/>
          </p:cNvCxnSpPr>
          <p:nvPr userDrawn="1"/>
        </p:nvCxnSpPr>
        <p:spPr bwMode="white">
          <a:xfrm flipH="1">
            <a:off x="507869" y="2156913"/>
            <a:ext cx="1027950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8542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2360B2-C043-C243-A8ED-35576E03D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0"/>
            <a:ext cx="12188826" cy="6858000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5818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&amp; Number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9DB8076-7A15-294B-9F29-3AD917EBD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809224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spcBef>
                <a:spcPts val="0"/>
              </a:spcBef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lang="en-US" sz="1866" baseline="0" noProof="0" dirty="0">
                <a:solidFill>
                  <a:schemeClr val="tx2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6EE624-9DEC-AB48-B64E-E6E983872DC4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471788"/>
            <a:ext cx="848758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C99D996-401C-B345-91D7-5E3D59498BBA}"/>
              </a:ext>
            </a:extLst>
          </p:cNvPr>
          <p:cNvSpPr/>
          <p:nvPr userDrawn="1"/>
        </p:nvSpPr>
        <p:spPr>
          <a:xfrm>
            <a:off x="503805" y="432689"/>
            <a:ext cx="2693366" cy="9128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5332" b="1" dirty="0">
                <a:solidFill>
                  <a:schemeClr val="tx2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874515-8BC9-E742-8E82-6CA0A2655E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9B55D8F4-7C00-A945-B181-3419E2C8C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C8A2C78D-0E99-3D46-85C8-7F3DBA884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150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6FE1-BD49-4DF7-BB00-A94B8604174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307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1F70E9D6-43EC-0241-BC44-FD47F28691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01D600B3-A7F4-0941-870B-67C380967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6094413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163D4327-3D35-AD4E-808A-738B44FCD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263324-F4C4-E749-86B9-D270983C126B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95CFD4-96B5-8C42-A808-6C280E38F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45249E6-CF45-F94B-9622-B5CA9AEEE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36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2142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2569E44-C137-3C42-84C2-936B7B239A15}"/>
              </a:ext>
            </a:extLst>
          </p:cNvPr>
          <p:cNvSpPr/>
          <p:nvPr userDrawn="1"/>
        </p:nvSpPr>
        <p:spPr>
          <a:xfrm rot="10800000">
            <a:off x="-5587" y="-8104"/>
            <a:ext cx="12194412" cy="6866104"/>
          </a:xfrm>
          <a:prstGeom prst="rect">
            <a:avLst/>
          </a:prstGeom>
          <a:gradFill>
            <a:gsLst>
              <a:gs pos="76000">
                <a:schemeClr val="accent1"/>
              </a:gs>
              <a:gs pos="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44" dirty="0"/>
          </a:p>
        </p:txBody>
      </p:sp>
    </p:spTree>
    <p:extLst>
      <p:ext uri="{BB962C8B-B14F-4D97-AF65-F5344CB8AC3E}">
        <p14:creationId xmlns:p14="http://schemas.microsoft.com/office/powerpoint/2010/main" val="13457345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F7CD3DD1-76E1-5C4F-88A3-41E8ABFC0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8825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467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176590-7EB0-0641-9AEF-A5D2C4CD0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88826" cy="6858000"/>
          </a:xfrm>
          <a:prstGeom prst="rect">
            <a:avLst/>
          </a:prstGeom>
        </p:spPr>
      </p:pic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7649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2F2C37E3-AF9A-1F47-A086-AAD77EDAA5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DF05A81-9F01-8040-A9B2-46004B5E90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452993E-D947-0342-AF06-85D233EF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C6266-0016-AF4E-9B0A-0A5201FDE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AE9F84-71AE-024B-BE95-03E0C1A82BC0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97682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AAE8289-DD47-D144-81DF-156E3AE27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F5C070-7E03-2942-B54C-3B82309EAB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  <a:effectLst>
            <a:outerShdw blurRad="12700" dist="38100" dir="5400000" sx="90000" sy="90000" algn="t" rotWithShape="0">
              <a:prstClr val="black">
                <a:alpha val="4000"/>
              </a:prst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6FE5A3-D65C-3043-AC3E-4E7F904CC3C8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2304" y="1959468"/>
            <a:ext cx="8487584" cy="0"/>
          </a:xfrm>
          <a:prstGeom prst="line">
            <a:avLst/>
          </a:prstGeom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35CDD119-9902-E141-8533-B71559B5860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07868" y="2187702"/>
            <a:ext cx="10593523" cy="820546"/>
          </a:xfrm>
        </p:spPr>
        <p:txBody>
          <a:bodyPr wrap="square" anchor="b">
            <a:spAutoFit/>
          </a:bodyPr>
          <a:lstStyle>
            <a:lvl1pPr algn="l">
              <a:defRPr sz="5332" b="1" i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Title Goes Here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FFA550FE-0F59-184C-8F71-2160F6198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AD57ECE9-5D31-3447-A27C-E28410CFA3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94A92B65-9073-714C-8832-DB92757BE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4683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 &amp; 1-Column">
    <p:bg>
      <p:bgPr>
        <a:solidFill>
          <a:schemeClr val="tx2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E18E0336-BC1E-A142-A764-8EB3BEF13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3218" y="6400800"/>
            <a:ext cx="9382167" cy="207264"/>
          </a:xfrm>
        </p:spPr>
        <p:txBody>
          <a:bodyPr/>
          <a:lstStyle>
            <a:lvl1pPr algn="l">
              <a:defRPr sz="10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795AB87B-A889-274F-9DA6-12B24B791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1930" y="6400800"/>
            <a:ext cx="304721" cy="207264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0725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>
            <a:normAutofit/>
          </a:bodyPr>
          <a:lstStyle>
            <a:lvl1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66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7B1799-5671-4E4A-9EA3-C2ABDFB123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753" y="825290"/>
            <a:ext cx="11177322" cy="357515"/>
          </a:xfrm>
        </p:spPr>
        <p:txBody>
          <a:bodyPr>
            <a:normAutofit/>
          </a:bodyPr>
          <a:lstStyle>
            <a:lvl1pPr>
              <a:defRPr sz="2133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6694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1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3006-3C2F-F84C-A081-B5A7EB14C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D4DC6B4-A7B2-1948-B033-FC7F81ECAC94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BF4A7D5-A9A4-D742-B109-C7B2BBE3A34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9405" y="1337345"/>
            <a:ext cx="5372987" cy="442569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07141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3A4B907-1218-4E4A-82F1-642F8017D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1"/>
            <a:ext cx="11177153" cy="410241"/>
          </a:xfrm>
        </p:spPr>
        <p:txBody>
          <a:bodyPr>
            <a:spAutoFit/>
          </a:bodyPr>
          <a:lstStyle>
            <a:lvl1pPr>
              <a:defRPr sz="2666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337345"/>
            <a:ext cx="11177153" cy="4425696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50ABCD-AE6B-3944-94D4-650FD3CEFB66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BDFF969-16B1-4043-AB0B-642C2E9380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3121" y="6379653"/>
            <a:ext cx="1718578" cy="36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122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3731C5-DFAC-4D4E-959F-93B93103246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8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43B87D-A0F4-A145-BCBE-88325C169FEF}"/>
              </a:ext>
            </a:extLst>
          </p:cNvPr>
          <p:cNvSpPr/>
          <p:nvPr userDrawn="1"/>
        </p:nvSpPr>
        <p:spPr>
          <a:xfrm>
            <a:off x="0" y="5410200"/>
            <a:ext cx="12188825" cy="144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6" dirty="0"/>
          </a:p>
        </p:txBody>
      </p:sp>
    </p:spTree>
    <p:extLst>
      <p:ext uri="{BB962C8B-B14F-4D97-AF65-F5344CB8AC3E}">
        <p14:creationId xmlns:p14="http://schemas.microsoft.com/office/powerpoint/2010/main" val="40184652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1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6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06435" y="234866"/>
            <a:ext cx="11175956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5227" y="51835"/>
            <a:ext cx="12312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51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69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835" y="6254495"/>
            <a:ext cx="11176475" cy="0"/>
          </a:xfrm>
          <a:custGeom>
            <a:avLst/>
            <a:gdLst/>
            <a:ahLst/>
            <a:cxnLst/>
            <a:rect l="l" t="t" r="r" b="b"/>
            <a:pathLst>
              <a:path w="8384540">
                <a:moveTo>
                  <a:pt x="0" y="0"/>
                </a:moveTo>
                <a:lnTo>
                  <a:pt x="8384158" y="0"/>
                </a:lnTo>
              </a:path>
            </a:pathLst>
          </a:custGeom>
          <a:ln w="9144">
            <a:solidFill>
              <a:srgbClr val="00B040"/>
            </a:solidFill>
          </a:ln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17" name="bk object 17"/>
          <p:cNvSpPr/>
          <p:nvPr/>
        </p:nvSpPr>
        <p:spPr>
          <a:xfrm>
            <a:off x="9978585" y="6374381"/>
            <a:ext cx="1704404" cy="36576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66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66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441" y="1577340"/>
            <a:ext cx="5302139" cy="369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20534" y="2381165"/>
            <a:ext cx="528013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66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  © 2020 Cognizant - Confidential or Trade Secret</a:t>
            </a:r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9F"/>
                </a:solidFill>
                <a:latin typeface="Arial"/>
                <a:cs typeface="Arial"/>
              </a:defRPr>
            </a:lvl1pPr>
          </a:lstStyle>
          <a:p>
            <a:pPr marL="33858">
              <a:spcBef>
                <a:spcPts val="33"/>
              </a:spcBef>
              <a:tabLst>
                <a:tab pos="380058" algn="l"/>
              </a:tabLst>
            </a:pPr>
            <a:fld id="{81D60167-4931-47E6-BA6A-407CBD079E47}" type="slidenum">
              <a:rPr lang="en-US" sz="1066" smtClean="0">
                <a:solidFill>
                  <a:srgbClr val="808080"/>
                </a:solidFill>
              </a:rPr>
              <a:pPr marL="33858">
                <a:spcBef>
                  <a:spcPts val="33"/>
                </a:spcBef>
                <a:tabLst>
                  <a:tab pos="380058" algn="l"/>
                </a:tabLst>
              </a:pPr>
              <a:t>‹#›</a:t>
            </a:fld>
            <a:r>
              <a:rPr lang="en-US" sz="1066">
                <a:solidFill>
                  <a:srgbClr val="808080"/>
                </a:solidFill>
              </a:rPr>
              <a:t>	</a:t>
            </a:r>
            <a:r>
              <a:rPr lang="en-US"/>
              <a:t>© 2019</a:t>
            </a:r>
            <a:r>
              <a:rPr lang="en-US" spc="-87"/>
              <a:t> </a:t>
            </a:r>
            <a:r>
              <a:rPr lang="en-US" spc="-7"/>
              <a:t>Cognizant</a:t>
            </a:r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6677324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425629"/>
            <a:ext cx="12188825" cy="43407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91317">
              <a:defRPr/>
            </a:pPr>
            <a:endParaRPr lang="en-US" sz="1754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721" y="0"/>
            <a:ext cx="11884104" cy="1143000"/>
          </a:xfrm>
          <a:prstGeom prst="rect">
            <a:avLst/>
          </a:prstGeom>
        </p:spPr>
        <p:txBody>
          <a:bodyPr/>
          <a:lstStyle>
            <a:lvl1pPr>
              <a:lnSpc>
                <a:spcPts val="2925"/>
              </a:lnSpc>
              <a:defRPr sz="2339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222729" y="6494055"/>
            <a:ext cx="586986" cy="297216"/>
          </a:xfrm>
          <a:prstGeom prst="rect">
            <a:avLst/>
          </a:prstGeom>
        </p:spPr>
        <p:txBody>
          <a:bodyPr vert="horz" lIns="89131" tIns="44566" rIns="89131" bIns="44566" rtlCol="0" anchor="b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32AB80A-78BA-6B42-BA0D-B44ACF890F5A}" type="slidenum">
              <a:rPr lang="en-US" sz="1024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pPr/>
              <a:t>‹#›</a:t>
            </a:fld>
            <a:endParaRPr lang="en-US" sz="1024" b="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6" t="3780" r="4361" b="5493"/>
          <a:stretch/>
        </p:blipFill>
        <p:spPr>
          <a:xfrm>
            <a:off x="10207195" y="6490713"/>
            <a:ext cx="576006" cy="30390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1014934" y="6527249"/>
            <a:ext cx="2563523" cy="227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1317">
              <a:defRPr/>
            </a:pPr>
            <a:r>
              <a:rPr lang="en-US" sz="878" b="0" kern="0" dirty="0">
                <a:solidFill>
                  <a:schemeClr val="tx1">
                    <a:lumMod val="50000"/>
                    <a:lumOff val="50000"/>
                  </a:schemeClr>
                </a:solidFill>
                <a:cs typeface="Arial"/>
              </a:rPr>
              <a:t>© 2018 Cognizant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868370" y="6490263"/>
            <a:ext cx="0" cy="30480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cognizant -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984020" y="6493975"/>
            <a:ext cx="984522" cy="297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94906"/>
      </p:ext>
    </p:extLst>
  </p:cSld>
  <p:clrMapOvr>
    <a:masterClrMapping/>
  </p:clrMapOvr>
  <p:transition spd="med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16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rgbClr val="000210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1822" y="6276782"/>
            <a:ext cx="2563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1111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440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6970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7372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8508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41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B5921-13FC-4322-87C4-4DB758BA0A4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1742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448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340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7952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0609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17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3752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7012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323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3778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0273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93FAD-A110-4D0D-BF6C-EE167223619A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1991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6779" y="1633728"/>
            <a:ext cx="8958786" cy="2292096"/>
          </a:xfrm>
        </p:spPr>
        <p:txBody>
          <a:bodyPr anchor="t" anchorCtr="0">
            <a:noAutofit/>
          </a:bodyPr>
          <a:lstStyle>
            <a:lvl1pPr>
              <a:defRPr sz="5865">
                <a:solidFill>
                  <a:schemeClr val="tx1"/>
                </a:solidFill>
              </a:defRPr>
            </a:lvl1pPr>
            <a:lvl2pPr marL="308956" indent="-308956">
              <a:buNone/>
              <a:defRPr sz="5865">
                <a:solidFill>
                  <a:schemeClr val="tx1"/>
                </a:solidFill>
              </a:defRPr>
            </a:lvl2pPr>
            <a:lvl3pPr marL="304724" indent="-30472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6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6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6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313295" y="6400800"/>
            <a:ext cx="1218883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F2A938-361F-4F67-8BCD-4248013A871E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/>
        </p:nvCxnSpPr>
        <p:spPr>
          <a:xfrm>
            <a:off x="1986777" y="1463040"/>
            <a:ext cx="895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867594" y="6364933"/>
            <a:ext cx="23963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144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238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E7440-A164-4BE7-A683-1DC89B30E100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4933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A1AF48-9BFD-46FF-86A7-B55749512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0A9DCA-C8FA-4C09-B99A-DC34A0B429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644D50-66B5-4F98-BB65-0462948F36D0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E2704D-D973-44F5-AFE3-5458B42961F6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59E830F-3EEF-43CF-8DA5-7C9FAB97A0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750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4267200"/>
            <a:ext cx="12188824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A6472576-AA86-442F-942A-4D33C4E2B3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1930" y="365760"/>
            <a:ext cx="11177153" cy="365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71916-F690-4209-B46C-EC1B2FCDBE7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4306A5D-4C19-4CEA-B7B4-5CF5FBCE4B8F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0861592-E564-44B4-A852-0D4E56011C1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2063E46-1CE4-4B18-8360-8C206F79F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3367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8825" cy="6096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D9B5BD-B7AB-4911-895E-9E202985C1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DB0EFEF-BBC8-473D-9AE1-F3955CF8ED7D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BA89284-C4DA-40FB-8673-D09F327E1187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E404F8E-3569-4CB7-9779-AC1B195FD6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312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24000"/>
            <a:ext cx="12188825" cy="457200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media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701FDA-857B-4B97-A1E3-A1B888D9C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1" y="365760"/>
            <a:ext cx="11173672" cy="1060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CC38F-9F2A-422F-979B-8828A725FA8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C89F2-7833-484F-A65C-662F6D68DDD3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E7E8EB-BBE8-401F-8C15-7A754DD1C2CB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2F5B8BF-A1CE-42CC-ACF4-0A5192FD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81173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2"/>
            <a:ext cx="5484971" cy="573023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CEB5CA12-0E7C-45C9-92C9-E64DA006575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5996902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91859-85A6-4652-BB50-DE18F40DAE1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891E91-9488-4616-A4E9-562C551F1C22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6A4D1D-419D-453A-9A35-9EF2960602A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AA30451-9D03-4FA5-AF5E-920706E8ED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262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365760"/>
            <a:ext cx="5484971" cy="57302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E3F330-9F76-4B2D-936C-BA16606110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97071" cy="6096000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C1D49F-49AB-492E-AADA-3FDC394DFDF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3F262AA-DEDE-48CB-AC20-EF8642D85293}" type="datetime1">
              <a:rPr lang="en-US" smtClean="0"/>
              <a:t>7/11/2024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92DAA9B-CFA7-4AA1-B116-CD98263A729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3F9A740-E5A2-4D3A-836A-46E192FC21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3909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6651" y="2438400"/>
            <a:ext cx="10360501" cy="438912"/>
          </a:xfrm>
        </p:spPr>
        <p:txBody>
          <a:bodyPr anchor="b" anchorCtr="0">
            <a:noAutofit/>
          </a:bodyPr>
          <a:lstStyle>
            <a:lvl1pPr>
              <a:defRPr sz="42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6651" y="3255264"/>
            <a:ext cx="10360501" cy="841248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666">
                <a:solidFill>
                  <a:schemeClr val="tx1"/>
                </a:solidFill>
              </a:defRPr>
            </a:lvl1pPr>
            <a:lvl2pPr marL="0" indent="0">
              <a:buNone/>
              <a:defRPr sz="2666">
                <a:solidFill>
                  <a:schemeClr val="tx1"/>
                </a:solidFill>
              </a:defRPr>
            </a:lvl2pPr>
            <a:lvl3pPr marL="0" indent="0">
              <a:buNone/>
              <a:defRPr sz="2666">
                <a:solidFill>
                  <a:schemeClr val="tx1"/>
                </a:solidFill>
              </a:defRPr>
            </a:lvl3pPr>
            <a:lvl4pPr marL="0" indent="0">
              <a:buNone/>
              <a:defRPr sz="2666">
                <a:solidFill>
                  <a:schemeClr val="tx1"/>
                </a:solidFill>
              </a:defRPr>
            </a:lvl4pPr>
            <a:lvl5pPr marL="0" indent="0">
              <a:buNone/>
              <a:defRPr sz="2666">
                <a:solidFill>
                  <a:schemeClr val="tx1"/>
                </a:solidFill>
              </a:defRPr>
            </a:lvl5pPr>
            <a:lvl6pPr marL="0" indent="0">
              <a:buNone/>
              <a:defRPr sz="2666">
                <a:solidFill>
                  <a:schemeClr val="tx1"/>
                </a:solidFill>
              </a:defRPr>
            </a:lvl6pPr>
            <a:lvl7pPr marL="0" indent="0">
              <a:buNone/>
              <a:defRPr sz="2666">
                <a:solidFill>
                  <a:schemeClr val="tx1"/>
                </a:solidFill>
              </a:defRPr>
            </a:lvl7pPr>
            <a:lvl8pPr marL="0" indent="0">
              <a:buNone/>
              <a:defRPr sz="2666">
                <a:solidFill>
                  <a:schemeClr val="tx1"/>
                </a:solidFill>
              </a:defRPr>
            </a:lvl8pPr>
            <a:lvl9pPr marL="0" indent="0">
              <a:buNone/>
              <a:defRPr sz="2666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Email (optional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7968"/>
            <a:ext cx="12174665" cy="6850033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4782957" y="-1296364"/>
            <a:ext cx="18473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66" dirty="0" err="1">
              <a:solidFill>
                <a:schemeClr val="tx2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814638" y="3066288"/>
            <a:ext cx="2477600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390744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9733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22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3AED819-68E9-4C82-9F88-87FDA99CDA3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7847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35981"/>
            <a:ext cx="12188825" cy="922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B63AD2-13B3-4C1A-81A7-6B8DAA7875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609442" y="512064"/>
            <a:ext cx="3180378" cy="6827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09441" y="2255520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© 2018 Cogniza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6497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5F1FCDD-9A69-4405-B89F-CFDAF1874A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68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852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609441" y="2254916"/>
            <a:ext cx="6703854" cy="1403461"/>
          </a:xfrm>
        </p:spPr>
        <p:txBody>
          <a:bodyPr anchor="b">
            <a:spAutoFit/>
          </a:bodyPr>
          <a:lstStyle>
            <a:lvl1pPr algn="l">
              <a:defRPr sz="50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609441" y="4157473"/>
            <a:ext cx="6703854" cy="718145"/>
          </a:xfrm>
        </p:spPr>
        <p:txBody>
          <a:bodyPr>
            <a:spAutoFit/>
          </a:bodyPr>
          <a:lstStyle>
            <a:lvl1pPr marL="0" marR="0" indent="0" algn="l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99">
                <a:solidFill>
                  <a:schemeClr val="bg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6pPr>
            <a:lvl7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7pPr>
            <a:lvl8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304724" indent="-304724" algn="l">
              <a:spcBef>
                <a:spcPts val="800"/>
              </a:spcBef>
              <a:buClrTx/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3BD8E8-263E-4363-B56A-C6544870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609441" y="6343036"/>
            <a:ext cx="6703854" cy="153888"/>
          </a:xfrm>
        </p:spPr>
        <p:txBody>
          <a:bodyPr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0" indent="0">
              <a:defRPr sz="1000">
                <a:solidFill>
                  <a:schemeClr val="bg1"/>
                </a:solidFill>
              </a:defRPr>
            </a:lvl2pPr>
            <a:lvl3pPr marL="0" indent="0">
              <a:defRPr sz="1000">
                <a:solidFill>
                  <a:schemeClr val="bg1"/>
                </a:solidFill>
              </a:defRPr>
            </a:lvl3pPr>
            <a:lvl4pPr marL="0" indent="0">
              <a:defRPr sz="1000">
                <a:solidFill>
                  <a:schemeClr val="bg1"/>
                </a:solidFill>
              </a:defRPr>
            </a:lvl4pPr>
            <a:lvl5pPr marL="0" indent="0">
              <a:defRPr sz="1000">
                <a:solidFill>
                  <a:schemeClr val="bg1"/>
                </a:solidFill>
              </a:defRPr>
            </a:lvl5pPr>
            <a:lvl6pPr marL="0" indent="0">
              <a:defRPr sz="1000">
                <a:solidFill>
                  <a:schemeClr val="bg1"/>
                </a:solidFill>
              </a:defRPr>
            </a:lvl6pPr>
            <a:lvl7pPr marL="0" indent="0">
              <a:defRPr sz="1000">
                <a:solidFill>
                  <a:schemeClr val="bg1"/>
                </a:solidFill>
              </a:defRPr>
            </a:lvl7pPr>
            <a:lvl8pPr marL="0" indent="0">
              <a:defRPr sz="1000">
                <a:solidFill>
                  <a:schemeClr val="bg1"/>
                </a:solidFill>
              </a:defRPr>
            </a:lvl8pPr>
            <a:lvl9pPr marL="0" indent="0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69F7CB-0D67-49E0-9197-CA57AE8A17CA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441" y="3904765"/>
            <a:ext cx="304720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E4D59F9-56F9-4A49-9196-51BDC9B07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42" y="512064"/>
            <a:ext cx="3180378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1556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icture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2BD88AD-BF9F-4A95-ACE0-0665F32F8DF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6774" y="1682496"/>
            <a:ext cx="685418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marL="609448" lvl="1" indent="-609448">
              <a:buNone/>
            </a:pPr>
            <a:endParaRPr kumimoji="0" lang="en-US" sz="3732" b="0" i="0" u="none" strike="noStrike" kern="1200" cap="none" spc="0" normalizeH="0" baseline="0" noProof="0" dirty="0">
              <a:ln>
                <a:noFill/>
              </a:ln>
              <a:solidFill>
                <a:srgbClr val="0033B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A5CEAD-8DF7-4847-A3C5-A3EBD2E6D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7868" y="1682495"/>
            <a:ext cx="3675693" cy="4425696"/>
          </a:xfrm>
          <a:noFill/>
        </p:spPr>
        <p:txBody>
          <a:bodyPr/>
          <a:lstStyle>
            <a:lvl1pPr marL="0" marR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48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CB4A54-5341-4A6F-9733-3D09E3B0E7F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9E508C-8E0B-469F-A2D9-AC62101F5C0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F96F16-06EB-41EA-A547-8A5407FBCF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DF8484-6FCC-46A8-B1A4-B877ED71BD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F8FABAD-01EF-483E-B2EF-403B57169C4D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42CD7C5-2D34-4C27-8DA0-D81A9530F1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2490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Numbere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E686D16-B817-4FD7-91EF-E75DCEECBD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3805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77858" indent="-37785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0" indent="0">
              <a:buNone/>
              <a:defRPr lang="en-US" sz="1866" baseline="0" noProof="0" dirty="0">
                <a:solidFill>
                  <a:schemeClr val="bg1"/>
                </a:solidFill>
              </a:defRPr>
            </a:lvl2pPr>
            <a:lvl3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3pPr>
            <a:lvl4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4pPr>
            <a:lvl5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6pPr>
            <a:lvl7pPr marL="0" indent="0"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186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Numbered text</a:t>
            </a:r>
          </a:p>
          <a:p>
            <a:pPr lvl="1"/>
            <a:r>
              <a:rPr lang="en-US" dirty="0"/>
              <a:t>Supporting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0FADBE-3030-4F6C-88B1-C1A6FD63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A04BE0-EF35-4D6F-B801-4137CADB0D75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82AB7-CA5B-4BB2-9297-72F42A2F2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0976E-13F2-445E-A5C4-28915A05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11AD09-EFF5-4259-BC1F-AFBAA6EE5437}"/>
              </a:ext>
            </a:extLst>
          </p:cNvPr>
          <p:cNvCxnSpPr>
            <a:cxnSpLocks/>
          </p:cNvCxnSpPr>
          <p:nvPr userDrawn="1"/>
        </p:nvCxnSpPr>
        <p:spPr>
          <a:xfrm>
            <a:off x="513127" y="6254496"/>
            <a:ext cx="1117595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5BD48D0-E8C8-4058-B322-A6DC8E33D7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775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930" y="1682496"/>
            <a:ext cx="11177153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313F-8A13-4A41-A8D7-31FB2FB074C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50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47146-9954-4458-9279-AA08A3B071C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094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eader &amp;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7A35C2-C0F4-49D9-B722-67323A6F7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509183-A3A4-4971-BEBF-1DCDFEAEA734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FFCDF-15C2-443A-9747-477B83B8C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63F49-35A6-44FE-8D1B-AF1E3728CA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6EBED9-9EFE-447A-BEE0-FCC12D286A7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87AFB02-A938-4E08-B29B-ED6F9D443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09135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C5538-3BC1-4274-BECE-326EC075782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6591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05568" y="1682496"/>
            <a:ext cx="3583515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B6AA-52B4-494A-A3CC-9F631DBC049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83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3583515" cy="442569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8749" y="1682496"/>
            <a:ext cx="7380334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31406E-2CA1-499E-A808-27B124490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64E4A-E694-4F54-A4D8-74459EC7FBEC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5E847-C84C-457F-B901-2EEB12AD94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C10D1C-F2EA-46B6-B35A-881C8F5C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149C702-A52C-4836-AD09-FFA898A62A9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FD43C0D-A77C-4195-A4E0-023F5CDE9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8648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69CF19-0589-4E7F-87F9-FC7CAC6AC6D8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20445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2A1A39-C278-49C1-98BD-03DFB86ACB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A4F26AE-5454-4F9D-AAE5-D3D002DD7C9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A52B1C-E724-479F-B20E-0E459E80FD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78CA9C-FCAF-4B99-B5F6-60AF3219B3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CFE254-800B-4596-8FBC-3984CE5AE788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304A10A-1409-4F5A-9F54-EB802809A8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56570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B5CE85F-2A75-4693-93B8-CBF7927F72B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10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33434-287A-47FC-8826-927D06662D6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8D386E0-6517-4865-845C-C9D03EFE0238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31ED2-2FB0-4787-9839-9D3116D30B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A36B9-835B-4A55-994F-E64CDB64656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1681F-8020-4D84-9273-264D5F39BDAF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1E49D76-A2A1-4E8C-8CF5-299D8A1F2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028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Sub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82496"/>
            <a:ext cx="11177151" cy="106070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09" y="2987040"/>
            <a:ext cx="5484971" cy="31211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25C43-3F77-4CF9-8E6F-F5DB1CDCD7D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11929" y="2987040"/>
            <a:ext cx="5484971" cy="3121152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3C2E1-148D-4C6B-A6B6-6408779530F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CD788F-B9E9-4F14-B100-50586E972F9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894B6-9AEC-449F-97A3-25262205013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B10EAF-6394-4900-AC77-D434D0DE4BE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C731D1-00A8-4565-A437-8595C7E6650E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ECD6034-AE10-44AD-8FB1-7887B1710C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178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6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0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0" y="4098770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17AA6AF-2E25-4B76-8264-0127F05158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314844" y="1676679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3A29B0-716A-4C35-A013-3FAC88D7A8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14844" y="4096512"/>
            <a:ext cx="3583515" cy="20116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4F57E95-9B34-49D0-B2D5-56ED760D9CA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05568" y="1682496"/>
            <a:ext cx="3583515" cy="21579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EF22231-FA42-42CF-AB2B-892F463A81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05568" y="4096512"/>
            <a:ext cx="3583515" cy="2011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366D76-6B79-48C4-8251-348E1555D5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1856AD-287E-4B42-827F-672E72E0C41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02B7B-0702-48E3-8554-1CD7C994F25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8D6D6-7FF6-449D-9219-4E96EBA4FD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F1CC7F-1769-4309-B028-FCCD6DB279B4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402C49C4-4B74-4AA3-BB68-2300CD8650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631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112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D7697-AE57-43B3-A9C4-B97982A7969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8BD2276-8977-4766-9164-0C1C18520B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97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BF87-93DB-41AC-97FE-D5B0EDE196C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0A897C52-38E8-4C02-B11A-8278FD59AD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4112" y="1682495"/>
            <a:ext cx="5984713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E6D374-812D-46BD-ACCF-706447B9BF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982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umbered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931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A297B0-47B5-4593-9A82-FCAC41DF5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3AD6C-D0A4-4637-9498-78703FB83037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8BB35-9F9D-4CE6-9B58-113B094F6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606C9F-D7ED-4FD8-B0F6-C62354279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115615-761F-445E-87C9-9E35C790E640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C20B5319-2B45-4252-BEAB-FDF0E14B7070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6204112" y="1682496"/>
            <a:ext cx="5984713" cy="44256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Insert Media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E423FB-65E5-44B7-A219-A6E67DC3F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5292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2-Column (Numbered text on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931" y="1682496"/>
            <a:ext cx="5484971" cy="44256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FEAAF-6EEB-4F52-AFCF-EAA3159D879B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65A60-4126-4C36-935C-5B2030550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3568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Picture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3E752-6178-4BDC-A142-2B2569EDD04D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791A77E-A9F3-439D-B41C-153F4D9DA6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82496"/>
            <a:ext cx="5996902" cy="442569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101BBA-D0AC-40A0-823F-9602CC060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990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Header, Media &amp;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08175" y="1682496"/>
            <a:ext cx="5480908" cy="4425696"/>
          </a:xfrm>
        </p:spPr>
        <p:txBody>
          <a:bodyPr/>
          <a:lstStyle>
            <a:lvl1pPr marL="304724" indent="-304724">
              <a:buFont typeface="+mj-lt"/>
              <a:buAutoNum type="arabicPeriod"/>
              <a:defRPr/>
            </a:lvl1pPr>
            <a:lvl2pPr marL="0" indent="0">
              <a:buNone/>
              <a:defRPr sz="1866">
                <a:solidFill>
                  <a:schemeClr val="tx2"/>
                </a:solidFill>
              </a:defRPr>
            </a:lvl2pPr>
            <a:lvl3pPr marL="304724" indent="-304724">
              <a:buClrTx/>
              <a:buSzPct val="125000"/>
              <a:buFont typeface="Arial" panose="020B0604020202020204" pitchFamily="34" charset="0"/>
              <a:buChar char="•"/>
              <a:defRPr sz="1866"/>
            </a:lvl3pPr>
            <a:lvl4pPr marL="609448" indent="-304724">
              <a:buClrTx/>
              <a:buSzPct val="90000"/>
              <a:buFont typeface="Arial" panose="020B0604020202020204" pitchFamily="34" charset="0"/>
              <a:buChar char="–"/>
              <a:defRPr sz="1866"/>
            </a:lvl4pPr>
            <a:lvl5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5pPr>
            <a:lvl6pPr marL="914171" indent="-304724">
              <a:buClrTx/>
              <a:buSzPct val="90000"/>
              <a:buFont typeface="Courier New" panose="02070309020205020404" pitchFamily="49" charset="0"/>
              <a:buChar char="o"/>
              <a:defRPr sz="1866"/>
            </a:lvl6pPr>
            <a:lvl7pPr marL="914171" indent="-304724">
              <a:buClrTx/>
              <a:buFont typeface="Courier New" panose="02070309020205020404" pitchFamily="49" charset="0"/>
              <a:buChar char="o"/>
              <a:defRPr sz="1866"/>
            </a:lvl7pPr>
            <a:lvl8pPr marL="914171" indent="-304724">
              <a:buClrTx/>
              <a:buFont typeface="Courier New" panose="02070309020205020404" pitchFamily="49" charset="0"/>
              <a:buChar char="o"/>
              <a:defRPr sz="1866"/>
            </a:lvl8pPr>
            <a:lvl9pPr marL="914171" indent="-304724">
              <a:buClrTx/>
              <a:buFont typeface="Courier New" panose="02070309020205020404" pitchFamily="49" charset="0"/>
              <a:buChar char="o"/>
              <a:defRPr sz="1866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6B50EE-F85F-414C-BE60-AD14E1007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964B7-435C-4AA1-A62E-A1663B697282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680250-28FD-4174-9EB0-1AD32A5E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BD98C7-B739-4171-A506-25C2647C3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871DB6-0162-4A88-A1DE-BA2AD504F4FC}"/>
              </a:ext>
            </a:extLst>
          </p:cNvPr>
          <p:cNvCxnSpPr>
            <a:cxnSpLocks/>
          </p:cNvCxnSpPr>
          <p:nvPr userDrawn="1"/>
        </p:nvCxnSpPr>
        <p:spPr>
          <a:xfrm>
            <a:off x="506435" y="6254496"/>
            <a:ext cx="1117595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a Placeholder 7">
            <a:extLst>
              <a:ext uri="{FF2B5EF4-FFF2-40B4-BE49-F238E27FC236}">
                <a16:creationId xmlns:a16="http://schemas.microsoft.com/office/drawing/2014/main" id="{7A841180-8D0B-4829-9826-A334842E6739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0" y="1682496"/>
            <a:ext cx="5996902" cy="4425696"/>
          </a:xfrm>
        </p:spPr>
        <p:txBody>
          <a:bodyPr anchor="ctr"/>
          <a:lstStyle>
            <a:lvl1pPr marL="0" marR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121889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Media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14AE5-4850-4466-8C9F-DD59FC000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978617" y="6373368"/>
            <a:ext cx="170377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864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26" Type="http://schemas.openxmlformats.org/officeDocument/2006/relationships/slideLayout" Target="../slideLayouts/slideLayout258.xml"/><Relationship Id="rId3" Type="http://schemas.openxmlformats.org/officeDocument/2006/relationships/slideLayout" Target="../slideLayouts/slideLayout235.xml"/><Relationship Id="rId21" Type="http://schemas.openxmlformats.org/officeDocument/2006/relationships/slideLayout" Target="../slideLayouts/slideLayout253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5" Type="http://schemas.openxmlformats.org/officeDocument/2006/relationships/slideLayout" Target="../slideLayouts/slideLayout257.xml"/><Relationship Id="rId33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slideLayout" Target="../slideLayouts/slideLayout252.xml"/><Relationship Id="rId29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56.xml"/><Relationship Id="rId32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slideLayout" Target="../slideLayouts/slideLayout255.xml"/><Relationship Id="rId28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slideLayout" Target="../slideLayouts/slideLayout254.xml"/><Relationship Id="rId27" Type="http://schemas.openxmlformats.org/officeDocument/2006/relationships/slideLayout" Target="../slideLayouts/slideLayout259.xml"/><Relationship Id="rId30" Type="http://schemas.openxmlformats.org/officeDocument/2006/relationships/slideLayout" Target="../slideLayouts/slideLayout262.xml"/><Relationship Id="rId8" Type="http://schemas.openxmlformats.org/officeDocument/2006/relationships/slideLayout" Target="../slideLayouts/slideLayout24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8" Type="http://schemas.openxmlformats.org/officeDocument/2006/relationships/slideLayout" Target="../slideLayouts/slideLayout11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29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73.xml"/><Relationship Id="rId8" Type="http://schemas.openxmlformats.org/officeDocument/2006/relationships/slideLayout" Target="../slideLayouts/slideLayout15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8" Type="http://schemas.openxmlformats.org/officeDocument/2006/relationships/slideLayout" Target="../slideLayouts/slideLayout1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229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55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8" r:id="rId15"/>
    <p:sldLayoutId id="2147483669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735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  <p:sldLayoutId id="2147483934" r:id="rId22"/>
    <p:sldLayoutId id="2147483935" r:id="rId23"/>
    <p:sldLayoutId id="2147483936" r:id="rId24"/>
    <p:sldLayoutId id="2147483937" r:id="rId25"/>
    <p:sldLayoutId id="2147483938" r:id="rId26"/>
    <p:sldLayoutId id="2147483939" r:id="rId27"/>
    <p:sldLayoutId id="2147483940" r:id="rId28"/>
    <p:sldLayoutId id="2147483941" r:id="rId29"/>
    <p:sldLayoutId id="2147483942" r:id="rId30"/>
    <p:sldLayoutId id="2147483943" r:id="rId31"/>
    <p:sldLayoutId id="2147483944" r:id="rId32"/>
    <p:sldLayoutId id="2147483946" r:id="rId33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828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193800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20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CCD4D3-3C75-9040-9FA7-6FCC27366374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B083EF-DC6B-284B-9EDB-AE9B9CD7AD5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516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710" r:id="rId11"/>
    <p:sldLayoutId id="2147483711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840" r:id="rId21"/>
  </p:sldLayoutIdLst>
  <p:hf hdr="0" dt="0"/>
  <p:txStyles>
    <p:titleStyle>
      <a:lvl1pPr algn="l" defTabSz="1218866" rtl="0" eaLnBrk="1" latinLnBrk="0" hangingPunct="1">
        <a:lnSpc>
          <a:spcPct val="100000"/>
        </a:lnSpc>
        <a:spcBef>
          <a:spcPct val="0"/>
        </a:spcBef>
        <a:buNone/>
        <a:defRPr sz="2666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133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866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4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240">
          <p15:clr>
            <a:srgbClr val="F26B43"/>
          </p15:clr>
        </p15:guide>
        <p15:guide id="3" pos="5544">
          <p15:clr>
            <a:srgbClr val="F26B43"/>
          </p15:clr>
        </p15:guide>
        <p15:guide id="4" orient="horz" pos="30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7689" y="6367657"/>
            <a:ext cx="23963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n-lt"/>
                <a:cs typeface="Arial"/>
              </a:rPr>
              <a:t>© 2019 Cognizant </a:t>
            </a:r>
          </a:p>
        </p:txBody>
      </p:sp>
    </p:spTree>
    <p:extLst>
      <p:ext uri="{BB962C8B-B14F-4D97-AF65-F5344CB8AC3E}">
        <p14:creationId xmlns:p14="http://schemas.microsoft.com/office/powerpoint/2010/main" val="250014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9" r:id="rId26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3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2C7141F-1075-416F-B85B-2A67B4DBA6BF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8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70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90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</p:sldLayoutIdLst>
  <p:hf hd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95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24" indent="-304724" algn="l" defTabSz="1218895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48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71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95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619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343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67" indent="-304724" algn="l" defTabSz="1218895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67" indent="-304724" algn="l" defTabSz="1218895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4CA83D3-FD04-4619-9DD5-38D065B95289}" type="datetime1">
              <a:rPr lang="en-US" smtClean="0"/>
              <a:t>7/11/20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403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</p:sldLayoutIdLst>
  <p:hf hdr="0" dt="0"/>
  <p:txStyles>
    <p:titleStyle>
      <a:lvl1pPr algn="l" defTabSz="1218866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© 2019 Cognizan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66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</p:sldLayoutIdLst>
  <p:hf hdr="0" dt="0"/>
  <p:txStyles>
    <p:titleStyle>
      <a:lvl1pPr algn="l" defTabSz="1218804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04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01" indent="-304701" algn="l" defTabSz="1218804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02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03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04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+mn-lt"/>
          <a:ea typeface="+mn-ea"/>
          <a:cs typeface="+mn-cs"/>
        </a:defRPr>
      </a:lvl7pPr>
      <a:lvl8pPr marL="2132907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8pPr>
      <a:lvl9pPr marL="2132907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828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193800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/>
              <a:t>|    © 2019 Cognizant - Confidential or Trade Secre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CCD4D3-3C75-9040-9FA7-6FCC2736637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978618" y="6373368"/>
            <a:ext cx="1703774" cy="36576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B083EF-DC6B-284B-9EDB-AE9B9CD7AD55}"/>
              </a:ext>
            </a:extLst>
          </p:cNvPr>
          <p:cNvCxnSpPr>
            <a:cxnSpLocks/>
          </p:cNvCxnSpPr>
          <p:nvPr userDrawn="1"/>
        </p:nvCxnSpPr>
        <p:spPr>
          <a:xfrm>
            <a:off x="506436" y="6254496"/>
            <a:ext cx="111759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583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</p:sldLayoutIdLst>
  <p:hf hdr="0" dt="0"/>
  <p:txStyles>
    <p:titleStyle>
      <a:lvl1pPr algn="l" defTabSz="1218866" rtl="0" eaLnBrk="1" latinLnBrk="0" hangingPunct="1">
        <a:lnSpc>
          <a:spcPct val="100000"/>
        </a:lnSpc>
        <a:spcBef>
          <a:spcPct val="0"/>
        </a:spcBef>
        <a:buNone/>
        <a:defRPr sz="2666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66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16" indent="-304716" algn="l" defTabSz="1218866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133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3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866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49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66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14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82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97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3" kern="1200">
          <a:solidFill>
            <a:schemeClr val="tx2"/>
          </a:solidFill>
          <a:latin typeface="+mn-lt"/>
          <a:ea typeface="+mn-ea"/>
          <a:cs typeface="+mn-cs"/>
        </a:defRPr>
      </a:lvl7pPr>
      <a:lvl8pPr marL="2133013" indent="-304716" algn="l" defTabSz="1218866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8pPr>
      <a:lvl9pPr marL="2133013" indent="-304716" algn="l" defTabSz="1218866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3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6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64">
          <p15:clr>
            <a:srgbClr val="F26B43"/>
          </p15:clr>
        </p15:guide>
        <p15:guide id="2" pos="240">
          <p15:clr>
            <a:srgbClr val="F26B43"/>
          </p15:clr>
        </p15:guide>
        <p15:guide id="3" pos="5544">
          <p15:clr>
            <a:srgbClr val="F26B43"/>
          </p15:clr>
        </p15:guide>
        <p15:guide id="4" orient="horz" pos="30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30" y="365760"/>
            <a:ext cx="11177153" cy="106070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30" y="1682496"/>
            <a:ext cx="11177153" cy="4425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17B5ED4-B674-4C32-9514-6C6A986BC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3295" y="6400800"/>
            <a:ext cx="121888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6F1A16AF-BCDD-455E-B562-E3F4E5EC6AC7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t>7/11/2024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3218" y="6400800"/>
            <a:ext cx="6094413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defRPr sz="1000"/>
            </a:lvl2pPr>
            <a:lvl3pPr marL="0" indent="0"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  <a:lvl6pPr marL="0" indent="0">
              <a:defRPr sz="1000"/>
            </a:lvl6pPr>
            <a:lvl7pPr marL="0" indent="0">
              <a:defRPr sz="1000"/>
            </a:lvl7pPr>
            <a:lvl8pPr marL="0" indent="0">
              <a:defRPr sz="1000"/>
            </a:lvl8pPr>
            <a:lvl9pPr marL="0" indent="0">
              <a:defRPr sz="1000"/>
            </a:lvl9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© 2019 Cognizant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30" y="6400800"/>
            <a:ext cx="304721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accent6"/>
                </a:solidFill>
                <a:latin typeface="Arial" panose="020B0604020202020204" pitchFamily="34" charset="0"/>
              </a:defRPr>
            </a:lvl1pPr>
          </a:lstStyle>
          <a:p>
            <a:fld id="{393A516D-0578-BA43-A930-A25C5F9D0BF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EFF5AB-0470-924E-BDF3-B748DA4E248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08809" y="6357383"/>
            <a:ext cx="127783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0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</p:sldLayoutIdLst>
  <p:hf hdr="0" dt="0"/>
  <p:txStyles>
    <p:titleStyle>
      <a:lvl1pPr algn="l" defTabSz="1218804" rtl="0" eaLnBrk="1" latinLnBrk="0" hangingPunct="1">
        <a:lnSpc>
          <a:spcPct val="90000"/>
        </a:lnSpc>
        <a:spcBef>
          <a:spcPct val="0"/>
        </a:spcBef>
        <a:buNone/>
        <a:defRPr sz="319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04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4701" indent="-304701" algn="l" defTabSz="1218804" rtl="0" eaLnBrk="1" latinLnBrk="0" hangingPunct="1">
        <a:lnSpc>
          <a:spcPct val="100000"/>
        </a:lnSpc>
        <a:spcBef>
          <a:spcPts val="800"/>
        </a:spcBef>
        <a:buClrTx/>
        <a:buSzPct val="125000"/>
        <a:buFont typeface="Arial" panose="020B0604020202020204" pitchFamily="34" charset="0"/>
        <a:buChar char="•"/>
        <a:defRPr sz="2399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402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103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8804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10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235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2132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28205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2132" kern="1200">
          <a:solidFill>
            <a:schemeClr val="tx2"/>
          </a:solidFill>
          <a:latin typeface="+mn-lt"/>
          <a:ea typeface="+mn-ea"/>
          <a:cs typeface="+mn-cs"/>
        </a:defRPr>
      </a:lvl7pPr>
      <a:lvl8pPr marL="2132907" indent="-304701" algn="l" defTabSz="1218804" rtl="0" eaLnBrk="1" latinLnBrk="0" hangingPunct="1">
        <a:lnSpc>
          <a:spcPct val="100000"/>
        </a:lnSpc>
        <a:spcBef>
          <a:spcPts val="533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8pPr>
      <a:lvl9pPr marL="2132907" indent="-304701" algn="l" defTabSz="1218804" rtl="0" eaLnBrk="1" latinLnBrk="0" hangingPunct="1">
        <a:lnSpc>
          <a:spcPct val="100000"/>
        </a:lnSpc>
        <a:spcBef>
          <a:spcPts val="533"/>
        </a:spcBef>
        <a:buClrTx/>
        <a:buSzPct val="90000"/>
        <a:buFont typeface="Courier New" panose="02070309020205020404" pitchFamily="49" charset="0"/>
        <a:buChar char="o"/>
        <a:defRPr sz="2132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C2F31-AB87-415E-830F-2863A197F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ilippines Organizational Chart</a:t>
            </a:r>
            <a:endParaRPr lang="en-PH" dirty="0">
              <a:highlight>
                <a:srgbClr val="FFFF00"/>
              </a:highlight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D9C9A7-250D-4803-B23C-BA183F6F5C56}"/>
              </a:ext>
            </a:extLst>
          </p:cNvPr>
          <p:cNvSpPr/>
          <p:nvPr/>
        </p:nvSpPr>
        <p:spPr>
          <a:xfrm>
            <a:off x="4791194" y="1046546"/>
            <a:ext cx="2899385" cy="47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00" b="1" kern="1200" dirty="0">
                <a:solidFill>
                  <a:sysClr val="windowText" lastClr="00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PAC Head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D09DC0-0CA6-4122-9CA2-D67AF0BEA87B}"/>
              </a:ext>
            </a:extLst>
          </p:cNvPr>
          <p:cNvSpPr/>
          <p:nvPr/>
        </p:nvSpPr>
        <p:spPr>
          <a:xfrm>
            <a:off x="4791193" y="1727332"/>
            <a:ext cx="2899385" cy="47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00" b="1" kern="1200" dirty="0">
                <a:solidFill>
                  <a:sysClr val="windowText" lastClr="00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untry Head</a:t>
            </a:r>
            <a:endParaRPr lang="en-US" sz="1200" kern="1200" dirty="0">
              <a:solidFill>
                <a:sysClr val="windowText" lastClr="000000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9BE5F-DDCE-4A3F-94BD-70A8BA301188}"/>
              </a:ext>
            </a:extLst>
          </p:cNvPr>
          <p:cNvSpPr/>
          <p:nvPr/>
        </p:nvSpPr>
        <p:spPr>
          <a:xfrm>
            <a:off x="7702159" y="2435262"/>
            <a:ext cx="1626320" cy="84608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b="1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Estrellita Leonor Gallito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Global Mobility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FCCF579-0A45-4F4F-BF70-AE90E93AC853}"/>
              </a:ext>
            </a:extLst>
          </p:cNvPr>
          <p:cNvGrpSpPr/>
          <p:nvPr/>
        </p:nvGrpSpPr>
        <p:grpSpPr>
          <a:xfrm>
            <a:off x="5513273" y="5507834"/>
            <a:ext cx="6236866" cy="352449"/>
            <a:chOff x="4982372" y="5733984"/>
            <a:chExt cx="7093514" cy="35254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37621E-49E9-4813-A6E1-D021EF4348BF}"/>
                </a:ext>
              </a:extLst>
            </p:cNvPr>
            <p:cNvSpPr/>
            <p:nvPr/>
          </p:nvSpPr>
          <p:spPr>
            <a:xfrm>
              <a:off x="8955299" y="5800804"/>
              <a:ext cx="320492" cy="2189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buClrTx/>
                <a:defRPr/>
              </a:pPr>
              <a:endParaRPr lang="en-US" sz="1200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30B17B1-59C7-419F-AD7D-C27CEDD43EBE}"/>
                </a:ext>
              </a:extLst>
            </p:cNvPr>
            <p:cNvSpPr txBox="1"/>
            <p:nvPr/>
          </p:nvSpPr>
          <p:spPr>
            <a:xfrm>
              <a:off x="9249779" y="5771755"/>
              <a:ext cx="25267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>
                <a:buClrTx/>
                <a:defRPr/>
              </a:pPr>
              <a:r>
                <a:rPr lang="en-US" sz="1200" kern="1200" dirty="0">
                  <a:solidFill>
                    <a:srgbClr val="0033A0">
                      <a:lumMod val="95000"/>
                      <a:lumOff val="5000"/>
                    </a:srgbClr>
                  </a:solidFill>
                  <a:ea typeface="+mn-ea"/>
                  <a:cs typeface="+mn-cs"/>
                </a:rPr>
                <a:t>Vertical/Tower Delivery Head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456294-C8C6-438E-9247-4A494F47A562}"/>
                </a:ext>
              </a:extLst>
            </p:cNvPr>
            <p:cNvSpPr/>
            <p:nvPr/>
          </p:nvSpPr>
          <p:spPr>
            <a:xfrm>
              <a:off x="4982372" y="5733984"/>
              <a:ext cx="7093514" cy="352541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buClrTx/>
                <a:defRPr/>
              </a:pPr>
              <a:endParaRPr lang="en-US" sz="1200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2152F7E-993F-489F-AB16-2D52B11B611B}"/>
                </a:ext>
              </a:extLst>
            </p:cNvPr>
            <p:cNvSpPr/>
            <p:nvPr/>
          </p:nvSpPr>
          <p:spPr>
            <a:xfrm>
              <a:off x="5069077" y="5800804"/>
              <a:ext cx="320492" cy="21890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ctr"/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200" b="1" kern="1200" dirty="0">
                <a:solidFill>
                  <a:srgbClr val="0033A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FE4CE56-DC48-4233-A239-61415E0B6FDC}"/>
                </a:ext>
              </a:extLst>
            </p:cNvPr>
            <p:cNvSpPr txBox="1"/>
            <p:nvPr/>
          </p:nvSpPr>
          <p:spPr>
            <a:xfrm>
              <a:off x="5392589" y="5771755"/>
              <a:ext cx="292398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>
                <a:buClrTx/>
                <a:defRPr/>
              </a:pPr>
              <a:r>
                <a:rPr lang="en-US" sz="1200" kern="1200" dirty="0">
                  <a:solidFill>
                    <a:srgbClr val="0033A0">
                      <a:lumMod val="95000"/>
                      <a:lumOff val="5000"/>
                    </a:srgbClr>
                  </a:solidFill>
                  <a:ea typeface="+mn-ea"/>
                  <a:cs typeface="+mn-cs"/>
                </a:rPr>
                <a:t>Corporate/Delivery Support Heads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1BC722B-4C4E-46DE-B6CF-7A8E770AD579}"/>
              </a:ext>
            </a:extLst>
          </p:cNvPr>
          <p:cNvSpPr/>
          <p:nvPr/>
        </p:nvSpPr>
        <p:spPr>
          <a:xfrm>
            <a:off x="914400" y="2508487"/>
            <a:ext cx="5419023" cy="58679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rgbClr val="FF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Upper Management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Contract 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1B30A7-7AB6-4972-BA9D-CE41CBD94F7D}"/>
              </a:ext>
            </a:extLst>
          </p:cNvPr>
          <p:cNvSpPr/>
          <p:nvPr/>
        </p:nvSpPr>
        <p:spPr>
          <a:xfrm>
            <a:off x="944876" y="3566280"/>
            <a:ext cx="5455920" cy="82275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assport Name (Given Name, Last Name) – 14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LMT / </a:t>
            </a:r>
            <a:r>
              <a:rPr lang="en-US" sz="1000" kern="120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CM title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(Account Name)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77C270-D08D-4836-A1B4-CEE6FECC107D}"/>
              </a:ext>
            </a:extLst>
          </p:cNvPr>
          <p:cNvCxnSpPr>
            <a:cxnSpLocks/>
          </p:cNvCxnSpPr>
          <p:nvPr/>
        </p:nvCxnSpPr>
        <p:spPr>
          <a:xfrm>
            <a:off x="3582198" y="3281346"/>
            <a:ext cx="0" cy="218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EDD703-3900-6012-3D4E-8B7D569CA5F9}"/>
              </a:ext>
            </a:extLst>
          </p:cNvPr>
          <p:cNvCxnSpPr>
            <a:cxnSpLocks/>
          </p:cNvCxnSpPr>
          <p:nvPr/>
        </p:nvCxnSpPr>
        <p:spPr>
          <a:xfrm flipV="1">
            <a:off x="3582198" y="4381228"/>
            <a:ext cx="0" cy="2933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82D4E4EE-0EB6-6253-4EE2-573CEFB10FC5}"/>
              </a:ext>
            </a:extLst>
          </p:cNvPr>
          <p:cNvSpPr/>
          <p:nvPr/>
        </p:nvSpPr>
        <p:spPr>
          <a:xfrm>
            <a:off x="981773" y="4674627"/>
            <a:ext cx="5419023" cy="58679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rgbClr val="FF0000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Lower Management </a:t>
            </a: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Complete Position or Title as per Contract – 12 Arial Bold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ccount / Project Complete Name – 10 Arial Size</a:t>
            </a: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4126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000" kern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9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heme/theme1.xml><?xml version="1.0" encoding="utf-8"?>
<a:theme xmlns:a="http://schemas.openxmlformats.org/drawingml/2006/main" name="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10.xml><?xml version="1.0" encoding="utf-8"?>
<a:theme xmlns:a="http://schemas.openxmlformats.org/drawingml/2006/main" name="6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FEB6863-95DF-4174-BDAE-0C67A64AF232}" vid="{C160C555-C30F-4E80-84FF-D8518884C10E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gnizantnewbrand">
  <a:themeElements>
    <a:clrScheme name="Custom 1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2F6C"/>
      </a:accent1>
      <a:accent2>
        <a:srgbClr val="2C67FF"/>
      </a:accent2>
      <a:accent3>
        <a:srgbClr val="328DFF"/>
      </a:accent3>
      <a:accent4>
        <a:srgbClr val="01A685"/>
      </a:accent4>
      <a:accent5>
        <a:srgbClr val="666666"/>
      </a:accent5>
      <a:accent6>
        <a:srgbClr val="B1B1B1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nizantnewbrand" id="{34464321-73E4-410E-B743-CF8D3DC5F44C}" vid="{66CDC2FA-A042-42D3-A5C3-2B3348401B6A}"/>
    </a:ext>
  </a:extLst>
</a:theme>
</file>

<file path=ppt/theme/theme3.xml><?xml version="1.0" encoding="utf-8"?>
<a:theme xmlns:a="http://schemas.openxmlformats.org/drawingml/2006/main" name="2019 Blue Graphic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9 Blue Graphic" id="{237C3CF6-B56F-4748-83E4-B003688D7FD4}" vid="{AD785CA6-9441-41B5-A820-18D74AFAA729}"/>
    </a:ext>
  </a:extLst>
</a:theme>
</file>

<file path=ppt/theme/theme4.xml><?xml version="1.0" encoding="utf-8"?>
<a:theme xmlns:a="http://schemas.openxmlformats.org/drawingml/2006/main" name="1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5.xml><?xml version="1.0" encoding="utf-8"?>
<a:theme xmlns:a="http://schemas.openxmlformats.org/drawingml/2006/main" name="2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6.xml><?xml version="1.0" encoding="utf-8"?>
<a:theme xmlns:a="http://schemas.openxmlformats.org/drawingml/2006/main" name="3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7.xml><?xml version="1.0" encoding="utf-8"?>
<a:theme xmlns:a="http://schemas.openxmlformats.org/drawingml/2006/main" name="4_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8.xml><?xml version="1.0" encoding="utf-8"?>
<a:theme xmlns:a="http://schemas.openxmlformats.org/drawingml/2006/main" name="1_Cognizantnewbrand">
  <a:themeElements>
    <a:clrScheme name="Custom 1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2F6C"/>
      </a:accent1>
      <a:accent2>
        <a:srgbClr val="2C67FF"/>
      </a:accent2>
      <a:accent3>
        <a:srgbClr val="328DFF"/>
      </a:accent3>
      <a:accent4>
        <a:srgbClr val="01A685"/>
      </a:accent4>
      <a:accent5>
        <a:srgbClr val="666666"/>
      </a:accent5>
      <a:accent6>
        <a:srgbClr val="B1B1B1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nizantnewbrand" id="{34464321-73E4-410E-B743-CF8D3DC5F44C}" vid="{66CDC2FA-A042-42D3-A5C3-2B3348401B6A}"/>
    </a:ext>
  </a:extLst>
</a:theme>
</file>

<file path=ppt/theme/theme9.xml><?xml version="1.0" encoding="utf-8"?>
<a:theme xmlns:a="http://schemas.openxmlformats.org/drawingml/2006/main" name="5_Cognizant">
  <a:themeElements>
    <a:clrScheme name="CT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3A0"/>
      </a:accent1>
      <a:accent2>
        <a:srgbClr val="00B140"/>
      </a:accent2>
      <a:accent3>
        <a:srgbClr val="0070C0"/>
      </a:accent3>
      <a:accent4>
        <a:srgbClr val="7030A0"/>
      </a:accent4>
      <a:accent5>
        <a:srgbClr val="F57B17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180722-2 template [Read-Only]" id="{874B4C3B-8F88-4C5C-99C4-A8A75476249D}" vid="{EFDF58A2-E98D-43EE-BE41-BC9B0846D4B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3</TotalTime>
  <Words>111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Calibri</vt:lpstr>
      <vt:lpstr>Courier New</vt:lpstr>
      <vt:lpstr>Cognizant</vt:lpstr>
      <vt:lpstr>Cognizantnewbrand</vt:lpstr>
      <vt:lpstr>2019 Blue Graphic</vt:lpstr>
      <vt:lpstr>1_Cognizant</vt:lpstr>
      <vt:lpstr>2_Cognizant</vt:lpstr>
      <vt:lpstr>3_Cognizant</vt:lpstr>
      <vt:lpstr>4_Cognizant</vt:lpstr>
      <vt:lpstr>1_Cognizantnewbrand</vt:lpstr>
      <vt:lpstr>5_Cognizant</vt:lpstr>
      <vt:lpstr>6_Cognizant</vt:lpstr>
      <vt:lpstr>think-cell Slide</vt:lpstr>
      <vt:lpstr>Philippines Organizational Cha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9 Annual Performance Review</dc:title>
  <dc:creator>Sankaran, Aravind (Cognizant)</dc:creator>
  <cp:lastModifiedBy>Sankari M, Vidhya (Cognizant)</cp:lastModifiedBy>
  <cp:revision>87</cp:revision>
  <dcterms:created xsi:type="dcterms:W3CDTF">2015-06-03T10:15:59Z</dcterms:created>
  <dcterms:modified xsi:type="dcterms:W3CDTF">2024-07-11T07:1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78146E0C751E4AAC6C666781C439B5</vt:lpwstr>
  </property>
</Properties>
</file>